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81" r:id="rId2"/>
    <p:sldId id="290" r:id="rId3"/>
    <p:sldId id="277" r:id="rId4"/>
    <p:sldId id="291" r:id="rId5"/>
    <p:sldId id="271" r:id="rId6"/>
    <p:sldId id="315" r:id="rId7"/>
    <p:sldId id="272" r:id="rId8"/>
    <p:sldId id="317" r:id="rId9"/>
    <p:sldId id="316" r:id="rId10"/>
    <p:sldId id="310" r:id="rId11"/>
    <p:sldId id="274" r:id="rId12"/>
    <p:sldId id="318" r:id="rId13"/>
    <p:sldId id="319" r:id="rId14"/>
    <p:sldId id="320" r:id="rId15"/>
    <p:sldId id="293" r:id="rId16"/>
    <p:sldId id="295" r:id="rId17"/>
    <p:sldId id="294" r:id="rId18"/>
    <p:sldId id="322" r:id="rId19"/>
    <p:sldId id="298" r:id="rId20"/>
    <p:sldId id="305" r:id="rId21"/>
    <p:sldId id="325" r:id="rId22"/>
    <p:sldId id="299" r:id="rId23"/>
    <p:sldId id="306" r:id="rId24"/>
    <p:sldId id="321" r:id="rId25"/>
    <p:sldId id="300" r:id="rId26"/>
    <p:sldId id="308" r:id="rId27"/>
    <p:sldId id="309" r:id="rId28"/>
    <p:sldId id="307" r:id="rId29"/>
    <p:sldId id="302" r:id="rId30"/>
    <p:sldId id="323" r:id="rId31"/>
    <p:sldId id="324" r:id="rId32"/>
    <p:sldId id="304" r:id="rId3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C46DF"/>
    <a:srgbClr val="44546A"/>
    <a:srgbClr val="F7F7F7"/>
    <a:srgbClr val="EBF1F9"/>
    <a:srgbClr val="F0F4FA"/>
    <a:srgbClr val="F5F6FD"/>
    <a:srgbClr val="DBDFF9"/>
    <a:srgbClr val="FBFBFB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DFCAF8-DD79-4E52-A6E2-63854C13F3AB}" v="284" dt="2021-03-25T02:59:28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4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2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실제 기업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dirty="0">
              <a:latin typeface="Source Sans Pro SemiBold" panose="020B0603030403020204" pitchFamily="34" charset="0"/>
            </a:rPr>
            <a:t>활용 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비즈니스 문제 정의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인사이트 도출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dirty="0">
              <a:latin typeface="Source Sans Pro SemiBold" panose="020B0603030403020204" pitchFamily="34" charset="0"/>
            </a:rPr>
            <a:t>고객분석</a:t>
          </a: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신규 </a:t>
          </a:r>
          <a:r>
            <a:rPr lang="en-US" altLang="ko-KR" dirty="0">
              <a:latin typeface="Source Sans Pro SemiBold" panose="020B0603030403020204" pitchFamily="34" charset="0"/>
            </a:rPr>
            <a:t>Seller </a:t>
          </a:r>
          <a:r>
            <a:rPr lang="ko-KR" altLang="en-US" dirty="0">
              <a:latin typeface="Source Sans Pro SemiBold" panose="020B0603030403020204" pitchFamily="34" charset="0"/>
            </a:rPr>
            <a:t>유치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기존 </a:t>
          </a:r>
          <a:r>
            <a:rPr lang="en-US" altLang="ko-KR" dirty="0">
              <a:latin typeface="Source Sans Pro SemiBold" panose="020B0603030403020204" pitchFamily="34" charset="0"/>
            </a:rPr>
            <a:t>Seller</a:t>
          </a:r>
          <a:r>
            <a:rPr lang="ko-KR" altLang="en-US" dirty="0">
              <a:latin typeface="Source Sans Pro SemiBold" panose="020B0603030403020204" pitchFamily="34" charset="0"/>
            </a:rPr>
            <a:t> 유지</a:t>
          </a:r>
          <a:endParaRPr lang="en-US" altLang="ko-KR" dirty="0">
            <a:latin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활성화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dirty="0">
            <a:latin typeface="Source Sans Pro SemiBold" panose="020B0603030403020204" pitchFamily="34" charset="0"/>
          </a:endParaRP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실제 기업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sz="1500" kern="1200" dirty="0">
              <a:latin typeface="Source Sans Pro SemiBold" panose="020B0603030403020204" pitchFamily="34" charset="0"/>
            </a:rPr>
            <a:t>활용 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비즈니스 문제 정의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및 인사이트 도출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sz="1500" kern="1200" dirty="0">
              <a:latin typeface="Source Sans Pro SemiBold" panose="020B0603030403020204" pitchFamily="34" charset="0"/>
            </a:rPr>
            <a:t>고객분석</a:t>
          </a:r>
        </a:p>
      </dsp:txBody>
      <dsp:txXfrm>
        <a:off x="4861569" y="867981"/>
        <a:ext cx="1818358" cy="1129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900" kern="1200" dirty="0">
              <a:latin typeface="Source Sans Pro SemiBold" panose="020B0603030403020204" pitchFamily="34" charset="0"/>
            </a:rPr>
            <a:t>신규 </a:t>
          </a:r>
          <a:r>
            <a:rPr lang="en-US" altLang="ko-KR" sz="1900" kern="1200" dirty="0">
              <a:latin typeface="Source Sans Pro SemiBold" panose="020B0603030403020204" pitchFamily="34" charset="0"/>
            </a:rPr>
            <a:t>Seller </a:t>
          </a:r>
          <a:r>
            <a:rPr lang="ko-KR" altLang="en-US" sz="1900" kern="1200" dirty="0">
              <a:latin typeface="Source Sans Pro SemiBold" panose="020B0603030403020204" pitchFamily="34" charset="0"/>
            </a:rPr>
            <a:t>유치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900" kern="1200" dirty="0">
              <a:latin typeface="Source Sans Pro SemiBold" panose="020B0603030403020204" pitchFamily="34" charset="0"/>
            </a:rPr>
            <a:t>기존 </a:t>
          </a:r>
          <a:r>
            <a:rPr lang="en-US" altLang="ko-KR" sz="1900" kern="1200" dirty="0">
              <a:latin typeface="Source Sans Pro SemiBold" panose="020B0603030403020204" pitchFamily="34" charset="0"/>
            </a:rPr>
            <a:t>Seller</a:t>
          </a:r>
          <a:r>
            <a:rPr lang="ko-KR" altLang="en-US" sz="1900" kern="1200" dirty="0">
              <a:latin typeface="Source Sans Pro SemiBold" panose="020B0603030403020204" pitchFamily="34" charset="0"/>
            </a:rPr>
            <a:t> 유지</a:t>
          </a:r>
          <a:endParaRPr lang="en-US" altLang="ko-KR" sz="1900" kern="1200" dirty="0">
            <a:latin typeface="Source Sans Pro SemiBold" panose="020B0603030403020204" pitchFamily="34" charset="0"/>
          </a:endParaRPr>
        </a:p>
        <a:p>
          <a:pPr marL="0" lvl="0" indent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900" kern="1200" dirty="0">
              <a:latin typeface="Source Sans Pro SemiBold" panose="020B0603030403020204" pitchFamily="34" charset="0"/>
            </a:rPr>
            <a:t>및 활성화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900" kern="1200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sz="19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sz="19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9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sz="1900" kern="1200" dirty="0">
            <a:latin typeface="Source Sans Pro SemiBold" panose="020B0603030403020204" pitchFamily="34" charset="0"/>
          </a:endParaRPr>
        </a:p>
      </dsp:txBody>
      <dsp:txXfrm>
        <a:off x="4861569" y="867981"/>
        <a:ext cx="1818358" cy="11290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FE768D18-069D-4EC7-A961-B00E3B926515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3E967378-E1C3-478A-8427-12BEE2AA5EE1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895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55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C8CEF0-B7CA-4971-8A58-CD2B437AC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8B12838-0C89-43BD-9BDB-5657173A7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E78F993-BA7F-427E-A058-6684B3DD2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00764D-3DDE-468F-B84C-1FD82C98F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E9D56B7-C21B-44B0-8E0B-544DF5ABE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4874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1C5CECC-248C-4C60-BFD7-F6C25072E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65043F2-CD21-459E-AAD2-92F72A45F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4BA9021-4DA1-4F03-8EFC-E4AF15624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7450021-D4F5-4B5E-8B44-B65D98DD7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D3A17EE-09C4-4E39-A21D-B8347F0A5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45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D112F79-6A8C-43F6-A49E-D0BFF01303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8F01C3A-5D15-4033-9A4A-1743996E63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076D4AA-8BAF-41E1-9EB2-49D1DB6D3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6F6F912-5085-4539-A784-87EF23FF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7C2F1F9-51C0-42E8-87F6-1865CB497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0972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94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6425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LG Smart UI Light" panose="020B0300000101010101" pitchFamily="50" charset="-127"/>
              </a:rPr>
              <a:t>SLIDE </a:t>
            </a:r>
            <a:r>
              <a:rPr lang="en-US" sz="1400" b="1" dirty="0">
                <a:solidFill>
                  <a:schemeClr val="accent1"/>
                </a:solidFill>
                <a:latin typeface="LG Smart UI Light" panose="020B0300000101010101" pitchFamily="50" charset="-127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90898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2BAAA0-1A1E-4B85-A89B-30F3A8C77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52BACB7-4900-43D3-9ED3-44D481FE5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0C7ED04-C217-4114-9EA1-C7085154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A138DF-9A9E-4511-AC19-E794B7AC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30371B5-7146-4CB3-8158-B430F13E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135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AE009E-839C-4554-82CB-DD31DE154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E9CDB79-DED9-443A-AD20-599A08B67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72CB4A-71D4-4B98-94A3-865B0A90D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7AE239-D101-422E-89B5-24C087A0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A34B7A-A7BC-4697-A3D4-025E3DAE0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273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354185A-F096-440A-9E3E-AD0D3B0CE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A5E4ECF-FCE4-4B2C-AC12-16D5806963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30EB6F7-F1BE-4831-A21A-7DABE8A43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8A6A74-AB64-43D6-A94A-0470EB38F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3188E3-A621-4469-9FA8-EB55A998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88DB071-150C-4A0F-80DF-F7FA7C19D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6000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FFB40C-3EF7-4220-BA3A-FD2CF1CCF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A8EFAC3-6348-4B2A-981A-18CBB37AF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B535C0E8-2DEC-459E-B60A-56DB12C70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0B01138-A203-4871-BC96-8A326408A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B854185-BD9B-45A3-9769-3337B79C0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E00FCDA-BB94-43E2-8E33-6CC041EB6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29D6063-3F2B-4FC9-BC51-D84498FE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0BAEF309-5507-4B2B-9A17-A99F5E901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33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413BCB-0975-4F66-91B2-C6F453AA3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CC50405-8E35-4170-A9B9-04D11D53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8FA5BFC-E922-4E5D-A8E6-BD3EA194A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CD732DE-53DA-4A35-8832-5133538D9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922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BA7DB5B-E64C-4039-B8C5-BD912E39F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2423BCA-34A5-422D-9C55-F6114D28B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1C2832-2E2D-4CE0-9AED-2218C1250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733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02FFEA-D2EA-4F51-8F59-34318C96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BAAB390-C141-4D23-9D20-A54E3A57F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761F362-D415-4207-A112-D15970CC2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0D89E44-127C-4A77-AE3B-9BC0321A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F0B215-9568-4F29-872B-0CCFC527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286DF65-665F-4029-80B2-9C68E147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7725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7603883-7FD2-4557-89F7-BEC7D506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CBBEA285-FD32-4E6C-A5C7-3460766B03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4D18D52-EB29-4935-AB95-ED37008CC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4A31CAC-0638-4E35-81B2-7D8E2A7E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A873AD8-7041-40DF-91B0-8897414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BE6D76C-D303-4F88-BAA8-77B8D88AD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326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7BC025B-3426-4FC9-B9A6-B8B8924E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3B55812-C1CA-4DA1-ADAC-4E5F390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E6304B7-2AF6-40C5-B4EB-7D9C4602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911A8B3B-7931-4340-B786-37AAADC64593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D4A05BA-4512-48E2-8544-3912A2E13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470E8C-EC9E-40FF-8E3B-6A7499131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428A20ED-B3C4-486C-A9DA-2AFCDBA622E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0690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5" name="Rectangle 51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 useBgFill="1">
        <p:nvSpPr>
          <p:cNvPr id="86" name="Freeform: Shape 53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56" name="Freeform: Shape 55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9B4DF53-D4D1-4F44-8857-C389313656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097" y="1106034"/>
            <a:ext cx="5449475" cy="3204134"/>
          </a:xfrm>
        </p:spPr>
        <p:txBody>
          <a:bodyPr anchor="b">
            <a:normAutofit/>
          </a:bodyPr>
          <a:lstStyle/>
          <a:p>
            <a:pPr algn="l"/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브라질 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이커머스</a:t>
            </a: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 플랫폼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만족도 점수 예측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5CD8335-FEFC-4727-9C61-1CAB6E9E2E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24" y="4872922"/>
            <a:ext cx="5449476" cy="1208141"/>
          </a:xfrm>
        </p:spPr>
        <p:txBody>
          <a:bodyPr>
            <a:normAutofit fontScale="92500"/>
          </a:bodyPr>
          <a:lstStyle/>
          <a:p>
            <a:pPr algn="l"/>
            <a:r>
              <a:rPr lang="en-US" altLang="ko-KR" sz="3200" dirty="0">
                <a:latin typeface="Source Sans Pro Black" panose="020B0803030403020204" pitchFamily="34" charset="0"/>
                <a:ea typeface="Source Sans Pro Black" panose="020B0803030403020204" pitchFamily="34" charset="0"/>
                <a:cs typeface="Aharoni" panose="02010803020104030203" pitchFamily="2" charset="-79"/>
              </a:rPr>
              <a:t>Business Analysis &amp; Satisfaction Score prediction</a:t>
            </a:r>
            <a:endParaRPr lang="en-US" altLang="ko-KR" sz="3200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F2E295-61F2-44A4-813B-D0990DD62A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528" b="9054"/>
          <a:stretch/>
        </p:blipFill>
        <p:spPr>
          <a:xfrm>
            <a:off x="6994067" y="1319632"/>
            <a:ext cx="4708831" cy="2108496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41EAAE-E583-4363-A8E5-E9980C9124D6}"/>
              </a:ext>
            </a:extLst>
          </p:cNvPr>
          <p:cNvSpPr txBox="1"/>
          <p:nvPr/>
        </p:nvSpPr>
        <p:spPr>
          <a:xfrm>
            <a:off x="6994069" y="5676199"/>
            <a:ext cx="4708833" cy="641517"/>
          </a:xfrm>
          <a:prstGeom prst="rect">
            <a:avLst/>
          </a:prstGeom>
          <a:solidFill>
            <a:schemeClr val="bg2">
              <a:lumMod val="50000"/>
              <a:alpha val="50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endParaRPr lang="en-US" altLang="ko-KR" sz="1300" dirty="0">
              <a:solidFill>
                <a:srgbClr val="FFFFFF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ctr">
              <a:spcAft>
                <a:spcPts val="600"/>
              </a:spcAft>
            </a:pPr>
            <a:r>
              <a:rPr lang="en-US" altLang="ko-KR" sz="13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2021.03.25 by B.R.O </a:t>
            </a:r>
            <a:endParaRPr lang="ko-KR" altLang="en-US" sz="1300" dirty="0">
              <a:solidFill>
                <a:srgbClr val="FFFFFF"/>
              </a:solidFill>
              <a:latin typeface="Source Sans Pro" panose="020B0503030403020204" pitchFamily="34" charset="0"/>
              <a:ea typeface="LG Smart UI Light" panose="020B0300000101010101" pitchFamily="50" charset="-127"/>
            </a:endParaRPr>
          </a:p>
        </p:txBody>
      </p:sp>
      <p:pic>
        <p:nvPicPr>
          <p:cNvPr id="5" name="그림 4" descr="텍스트이(가) 표시된 사진&#10;&#10;자동 생성된 설명">
            <a:extLst>
              <a:ext uri="{FF2B5EF4-FFF2-40B4-BE49-F238E27FC236}">
                <a16:creationId xmlns:a16="http://schemas.microsoft.com/office/drawing/2014/main" id="{DD90F144-8141-4729-B2DB-235DABF515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36" r="16036"/>
          <a:stretch/>
        </p:blipFill>
        <p:spPr>
          <a:xfrm>
            <a:off x="6994067" y="3867769"/>
            <a:ext cx="4708833" cy="201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28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3219D0-ABDF-483A-B205-5FED7C18DB04}"/>
              </a:ext>
            </a:extLst>
          </p:cNvPr>
          <p:cNvSpPr txBox="1"/>
          <p:nvPr/>
        </p:nvSpPr>
        <p:spPr>
          <a:xfrm>
            <a:off x="3078637" y="4177440"/>
            <a:ext cx="186247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</a:t>
            </a:r>
            <a:r>
              <a:rPr lang="en-US" altLang="ko-KR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고객</a:t>
            </a:r>
            <a:r>
              <a:rPr lang="en-US" altLang="ko-KR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처리상태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시각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 단계별 완료 시각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예정일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endParaRPr lang="ko-KR" altLang="en-US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1110182" y="1497117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올리스트 데이터 셋 구조 </a:t>
            </a:r>
            <a:endParaRPr lang="en-US" altLang="ko-KR" b="1" dirty="0"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23068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5706FE7F-3561-4A4E-A142-328743693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820777"/>
            <a:ext cx="6799070" cy="341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>
            <a:extLst>
              <a:ext uri="{FF2B5EF4-FFF2-40B4-BE49-F238E27FC236}">
                <a16:creationId xmlns:a16="http://schemas.microsoft.com/office/drawing/2014/main" id="{887213EB-F0C9-4194-9135-CCF5B3028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4745319"/>
            <a:ext cx="2940864" cy="187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442C227D-96DB-4C0B-8029-8F1C2DCC4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4420569"/>
            <a:ext cx="6622899" cy="183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2" y="1293393"/>
            <a:ext cx="2814938" cy="3364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6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8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12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 조정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201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201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매출액 및 주문건수 상승 트렌드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평균 주문단가는 일정한 흐름을 유지 함을 볼 때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거래량 증가로 매출액이 견인되었다고 판단 가능 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185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1" y="1293393"/>
            <a:ext cx="2892475" cy="2256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 err="1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요일별</a:t>
            </a: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주말로 갈 수록 주문 건 수 낮아짐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LG Smart UI Light" panose="020B0300000101010101" pitchFamily="50" charset="-127"/>
              <a:ea typeface="LG Smart UI Light" panose="020B0300000101010101" pitchFamily="50" charset="-127"/>
              <a:cs typeface="+mn-cs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시간대별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밤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사이 가장 활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7B7A2D1-ED35-422E-8CFB-15C97BE9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966" y="762000"/>
            <a:ext cx="6889866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1CEB2551-7DE7-4585-9873-FB1D407B3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999" y="3766359"/>
            <a:ext cx="67818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837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ategory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88505" y="1293393"/>
            <a:ext cx="2962695" cy="2625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76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-&gt; 21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카테고리 재 분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과다한 범주에 대해 상위 범주를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생성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Top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 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카테고리 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문구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뷰티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리빙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전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DCED256-0274-4822-B2D3-D1907B488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556" y="260473"/>
            <a:ext cx="6647672" cy="6597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210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5025006" y="2041559"/>
            <a:ext cx="6627302" cy="3478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819670" y="2050558"/>
            <a:ext cx="3718774" cy="3408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Operation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050679" y="5586272"/>
            <a:ext cx="112684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결제수단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E7E4765-94FF-4AB2-B3F7-E0FCEC8F5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31" y="2155940"/>
            <a:ext cx="3340084" cy="319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7E396009-8499-4E33-B7A7-BDB5D1FB9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732" y="2281410"/>
            <a:ext cx="6229853" cy="3072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60559" y="5606814"/>
            <a:ext cx="1427819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주문 처리 상태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90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EBDA1022-BADC-4797-A19B-C8CDF03F218E}"/>
              </a:ext>
            </a:extLst>
          </p:cNvPr>
          <p:cNvSpPr/>
          <p:nvPr/>
        </p:nvSpPr>
        <p:spPr>
          <a:xfrm>
            <a:off x="3449053" y="3660113"/>
            <a:ext cx="8628368" cy="3050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7CD7175-E825-4111-8E31-51DB30D289BE}"/>
              </a:ext>
            </a:extLst>
          </p:cNvPr>
          <p:cNvSpPr/>
          <p:nvPr/>
        </p:nvSpPr>
        <p:spPr>
          <a:xfrm>
            <a:off x="3449053" y="172533"/>
            <a:ext cx="8628368" cy="33968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CF659B8-2436-48C5-BD60-AAFF6D0E8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310" y="359443"/>
            <a:ext cx="6096000" cy="320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E66D6C3-BBD2-4ADF-92D1-703167B4D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668" y="3725535"/>
            <a:ext cx="6199199" cy="2959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C6906DC-659C-4BF6-B01D-65EF7C8169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182015"/>
              </p:ext>
            </p:extLst>
          </p:nvPr>
        </p:nvGraphicFramePr>
        <p:xfrm>
          <a:off x="3644763" y="53590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808367031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696676982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ustom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4416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94,9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0633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.03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0199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0.2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86315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38520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025636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412722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42083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6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753003"/>
                  </a:ext>
                </a:extLst>
              </a:tr>
            </a:tbl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C92EE5C5-B5A3-4BA9-B359-7D603690D4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50125"/>
              </p:ext>
            </p:extLst>
          </p:nvPr>
        </p:nvGraphicFramePr>
        <p:xfrm>
          <a:off x="3644763" y="390806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,02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6.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19.9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8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0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5634DE6-CAA0-4293-897F-CAAE77E5D60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A1196AC4-25CD-40F4-BF0A-16B19C52960E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EA174F8-ED6A-49B7-B1D7-30978213EE2B}"/>
              </a:ext>
            </a:extLst>
          </p:cNvPr>
          <p:cNvSpPr txBox="1"/>
          <p:nvPr/>
        </p:nvSpPr>
        <p:spPr>
          <a:xfrm>
            <a:off x="288505" y="1293393"/>
            <a:ext cx="3521495" cy="47952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Custom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-9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만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5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천명 중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7%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번만 이용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Retention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관련한 추가 분석 어려움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 algn="l">
              <a:lnSpc>
                <a:spcPct val="150000"/>
              </a:lnSpc>
              <a:buFontTx/>
              <a:buChar char="-"/>
            </a:pP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약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천 여명의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edian 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max 2025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 판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ax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의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 크므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판매실적이 뛰어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To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들이 있을 것으로 보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92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9303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71B5787-338A-4C43-9C31-295718D085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2" y="63145"/>
            <a:ext cx="6152168" cy="3496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AF1AE4C4-C3E8-4474-B540-FF57C6DB9587}"/>
              </a:ext>
            </a:extLst>
          </p:cNvPr>
          <p:cNvGrpSpPr/>
          <p:nvPr/>
        </p:nvGrpSpPr>
        <p:grpSpPr>
          <a:xfrm>
            <a:off x="5075558" y="3617495"/>
            <a:ext cx="5654844" cy="3282854"/>
            <a:chOff x="6113380" y="2268599"/>
            <a:chExt cx="5654844" cy="3471349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2DD05339-62E3-43BC-B0F9-10941B0B31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380" y="2268599"/>
              <a:ext cx="5654844" cy="3471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2B20645D-958E-4E43-820E-B58824FB0FDE}"/>
                </a:ext>
              </a:extLst>
            </p:cNvPr>
            <p:cNvCxnSpPr>
              <a:cxnSpLocks/>
            </p:cNvCxnSpPr>
            <p:nvPr/>
          </p:nvCxnSpPr>
          <p:spPr>
            <a:xfrm>
              <a:off x="6494182" y="3072063"/>
              <a:ext cx="11739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93B0041B-E85A-4689-8761-5CFB09F89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8126" y="3064042"/>
              <a:ext cx="0" cy="232610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1D7B1F54-5A63-4A53-AD07-706B58E62A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6866" y="3420979"/>
              <a:ext cx="0" cy="19691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CD617B25-69C7-43D9-AF46-2C9C24ADC97F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0" y="3449051"/>
              <a:ext cx="716746" cy="40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9BD6A19F-D1B9-48DE-BDE8-87542F17EA78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1" y="3858123"/>
              <a:ext cx="45204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8845AF29-15D3-45EF-A44C-09023AF224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54258" y="3858123"/>
              <a:ext cx="0" cy="15560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표 30">
            <a:extLst>
              <a:ext uri="{FF2B5EF4-FFF2-40B4-BE49-F238E27FC236}">
                <a16:creationId xmlns:a16="http://schemas.microsoft.com/office/drawing/2014/main" id="{A5E7CCD0-6AEF-4CAC-B95B-D3A3832A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36547"/>
              </p:ext>
            </p:extLst>
          </p:nvPr>
        </p:nvGraphicFramePr>
        <p:xfrm>
          <a:off x="910549" y="1405727"/>
          <a:ext cx="2109218" cy="2828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609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1054609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_Sales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3,029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5,178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6,00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2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81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,015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4,06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49,393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9FC32CE1-1188-42D0-9A21-5E2197975570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7395B26-0C40-4801-A201-4DB580F9C86E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Sell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매출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478126-30F1-4BB2-8AF8-E3DA8728E4EC}"/>
              </a:ext>
            </a:extLst>
          </p:cNvPr>
          <p:cNvSpPr txBox="1"/>
          <p:nvPr/>
        </p:nvSpPr>
        <p:spPr>
          <a:xfrm>
            <a:off x="341745" y="4680838"/>
            <a:ext cx="3521495" cy="15776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상위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매출 비중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4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5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7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8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7154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2430480D-C4AB-4E5C-B39F-0A9C9DC2E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35" y="1214196"/>
            <a:ext cx="5037616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>
            <a:extLst>
              <a:ext uri="{FF2B5EF4-FFF2-40B4-BE49-F238E27FC236}">
                <a16:creationId xmlns:a16="http://schemas.microsoft.com/office/drawing/2014/main" id="{3174952A-8815-4E50-8922-72E9107D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989" y="1214195"/>
            <a:ext cx="5893971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D52A261B-2AEE-44A1-A971-6D0E2ED0D418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7E3E772E-BAAF-4E90-B3A3-6140214E721B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3D1AFAC-046E-465D-AF01-C1D430846D6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D57D79-9CB8-4691-AAF0-3E093ADBBD9B}"/>
              </a:ext>
            </a:extLst>
          </p:cNvPr>
          <p:cNvSpPr txBox="1"/>
          <p:nvPr/>
        </p:nvSpPr>
        <p:spPr>
          <a:xfrm>
            <a:off x="812111" y="5546176"/>
            <a:ext cx="3795066" cy="379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매월 신규 고객은 늘어나지만 재구매는 없음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C687E-1A47-4E00-89F8-E0DA0F28E0AE}"/>
              </a:ext>
            </a:extLst>
          </p:cNvPr>
          <p:cNvSpPr txBox="1"/>
          <p:nvPr/>
        </p:nvSpPr>
        <p:spPr>
          <a:xfrm>
            <a:off x="6311459" y="5483054"/>
            <a:ext cx="3795066" cy="703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입점 후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</a:t>
            </a:r>
            <a:r>
              <a:rPr lang="ko-KR" altLang="en-US" sz="1400" dirty="0" err="1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잔존율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하락 추이</a:t>
            </a: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 / 8 / 12 / 16 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등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월 주기로 더 하락 추세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53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</a:p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Business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Agend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6213288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561082" y="4159680"/>
            <a:ext cx="1828637" cy="1680244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Review</a:t>
            </a:r>
          </a:p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Data</a:t>
            </a:r>
            <a:endParaRPr lang="ko-KR" altLang="en-US" sz="28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" name="1/2 액자 1">
            <a:extLst>
              <a:ext uri="{FF2B5EF4-FFF2-40B4-BE49-F238E27FC236}">
                <a16:creationId xmlns:a16="http://schemas.microsoft.com/office/drawing/2014/main" id="{84704C42-1AFA-48BE-8F01-D2B588513E1B}"/>
              </a:ext>
            </a:extLst>
          </p:cNvPr>
          <p:cNvSpPr/>
          <p:nvPr/>
        </p:nvSpPr>
        <p:spPr>
          <a:xfrm rot="13462481">
            <a:off x="8411562" y="236615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" name="1/2 액자 10">
            <a:extLst>
              <a:ext uri="{FF2B5EF4-FFF2-40B4-BE49-F238E27FC236}">
                <a16:creationId xmlns:a16="http://schemas.microsoft.com/office/drawing/2014/main" id="{C08673C9-EEA3-4E5D-A233-F1AF3F8971BA}"/>
              </a:ext>
            </a:extLst>
          </p:cNvPr>
          <p:cNvSpPr/>
          <p:nvPr/>
        </p:nvSpPr>
        <p:spPr>
          <a:xfrm rot="13462481">
            <a:off x="10673094" y="239242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6CFB8D-60B5-49B4-8087-B767BAB05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529" y="3553012"/>
            <a:ext cx="5494045" cy="289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08C100A-A063-40D3-9B63-D865E6289A90}"/>
              </a:ext>
            </a:extLst>
          </p:cNvPr>
          <p:cNvSpPr txBox="1"/>
          <p:nvPr/>
        </p:nvSpPr>
        <p:spPr>
          <a:xfrm>
            <a:off x="2738364" y="3975330"/>
            <a:ext cx="3357634" cy="2671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고객 재방문을 이끄는 만족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Review Data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분석을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 통해 고객이 불만족한 요인을 찾고 개선한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. 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서비스 개선 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고객 재방문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 Seller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 매출 증대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en-US" altLang="ko-KR" sz="1200" b="1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Olist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의 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Action Plan 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도출</a:t>
            </a:r>
            <a:endParaRPr lang="en-US" altLang="ko-KR" sz="1200" b="1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현상 유지 시 불만족 발생 </a:t>
            </a:r>
            <a:r>
              <a:rPr lang="en-US" altLang="ko-KR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ediction</a:t>
            </a:r>
            <a:endParaRPr lang="en-US" altLang="ko-KR" sz="11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733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EF8F62F-548D-4C04-A1FE-22D13829C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9" y="2103668"/>
            <a:ext cx="57435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841EC27E-1315-48BD-8CB1-CF33368BD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2" y="2039500"/>
            <a:ext cx="58959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4D3D9CE-E9CA-4C4F-B7FF-8DC850313E2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4745C7F-6D3A-4D49-819B-C777309E1764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Review Data EDA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4206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데이터 선정 배경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51174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15DB7192-C8EC-48FD-81A4-CA3219FFBC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8082" y="4044318"/>
            <a:ext cx="6802028" cy="2057613"/>
          </a:xfrm>
          <a:prstGeom prst="rect">
            <a:avLst/>
          </a:prstGeom>
        </p:spPr>
      </p:pic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1424142" y="4269560"/>
            <a:ext cx="1995055" cy="1607127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Kaggle</a:t>
            </a:r>
            <a:endParaRPr lang="ko-KR" altLang="en-US" sz="32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09516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3480DD16-A16A-4D06-9162-69F5F8EB9AB1}"/>
              </a:ext>
            </a:extLst>
          </p:cNvPr>
          <p:cNvSpPr/>
          <p:nvPr/>
        </p:nvSpPr>
        <p:spPr>
          <a:xfrm>
            <a:off x="641977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117764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27F7A7-C5DB-4594-A5D9-5E29F8AAA1D2}"/>
              </a:ext>
            </a:extLst>
          </p:cNvPr>
          <p:cNvSpPr txBox="1"/>
          <p:nvPr/>
        </p:nvSpPr>
        <p:spPr>
          <a:xfrm>
            <a:off x="421036" y="6421848"/>
            <a:ext cx="92079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전반적으로 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Product’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Delivery(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receive,came,arrived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에 대한 언급이 많음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EAC1C54D-30A2-454B-930C-AA628FB707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741"/>
          <a:stretch/>
        </p:blipFill>
        <p:spPr bwMode="auto">
          <a:xfrm>
            <a:off x="6757570" y="330749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7245BC9-EAF7-43D0-8457-9C9A7231A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79740" r="-4220"/>
          <a:stretch/>
        </p:blipFill>
        <p:spPr bwMode="auto">
          <a:xfrm>
            <a:off x="1579131" y="1202573"/>
            <a:ext cx="4036086" cy="229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E0CC33B3-225A-4F59-8524-DE051BF2CA99}"/>
              </a:ext>
            </a:extLst>
          </p:cNvPr>
          <p:cNvCxnSpPr>
            <a:cxnSpLocks/>
          </p:cNvCxnSpPr>
          <p:nvPr/>
        </p:nvCxnSpPr>
        <p:spPr>
          <a:xfrm flipV="1">
            <a:off x="973656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DE78DB8-01C6-4156-BC6C-97D759BF460B}"/>
              </a:ext>
            </a:extLst>
          </p:cNvPr>
          <p:cNvSpPr txBox="1"/>
          <p:nvPr/>
        </p:nvSpPr>
        <p:spPr>
          <a:xfrm>
            <a:off x="931711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Comment Word Cloud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CDA9C7B-A227-4B41-B1DD-69EC1839F9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60111" r="-4220" b="19628"/>
          <a:stretch/>
        </p:blipFill>
        <p:spPr bwMode="auto">
          <a:xfrm>
            <a:off x="1579131" y="3573211"/>
            <a:ext cx="4036086" cy="2296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AE43729C-B9BC-4CBD-B008-EF77D9897F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2" b="59830"/>
          <a:stretch/>
        </p:blipFill>
        <p:spPr bwMode="auto">
          <a:xfrm>
            <a:off x="6757570" y="2437750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2A43A2FD-8B1A-494C-A63C-91D61221FC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1" b="39753"/>
          <a:stretch/>
        </p:blipFill>
        <p:spPr bwMode="auto">
          <a:xfrm>
            <a:off x="6877434" y="4590228"/>
            <a:ext cx="3842732" cy="2189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타원 13">
            <a:extLst>
              <a:ext uri="{FF2B5EF4-FFF2-40B4-BE49-F238E27FC236}">
                <a16:creationId xmlns:a16="http://schemas.microsoft.com/office/drawing/2014/main" id="{BE56A10D-2DC9-4C74-88F0-F9DBF43D989F}"/>
              </a:ext>
            </a:extLst>
          </p:cNvPr>
          <p:cNvSpPr/>
          <p:nvPr/>
        </p:nvSpPr>
        <p:spPr>
          <a:xfrm>
            <a:off x="4629150" y="282263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만족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C7A17F1D-E469-4E5F-A84E-E89DAA9033FF}"/>
              </a:ext>
            </a:extLst>
          </p:cNvPr>
          <p:cNvSpPr/>
          <p:nvPr/>
        </p:nvSpPr>
        <p:spPr>
          <a:xfrm>
            <a:off x="10334497" y="453516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불만족</a:t>
            </a:r>
          </a:p>
        </p:txBody>
      </p:sp>
    </p:spTree>
    <p:extLst>
      <p:ext uri="{BB962C8B-B14F-4D97-AF65-F5344CB8AC3E}">
        <p14:creationId xmlns:p14="http://schemas.microsoft.com/office/powerpoint/2010/main" val="3816504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3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eature</a:t>
            </a:r>
            <a:r>
              <a:rPr lang="ko-KR" alt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ngineering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036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4" y="1689164"/>
            <a:ext cx="2976584" cy="1112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별 만족도</a:t>
            </a:r>
            <a:endParaRPr lang="en-US" altLang="ko-KR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 순위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Home_living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&gt;Furniture&gt;Security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2A2A0844-7700-4113-8CC0-5BCC27998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135" y="1032132"/>
            <a:ext cx="8703650" cy="5504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38309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7F0BE885-EEDB-42F0-8D18-C65C8A5DA91C}"/>
              </a:ext>
            </a:extLst>
          </p:cNvPr>
          <p:cNvSpPr/>
          <p:nvPr/>
        </p:nvSpPr>
        <p:spPr>
          <a:xfrm>
            <a:off x="0" y="0"/>
            <a:ext cx="26508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B7F8F1-AB83-400A-ACF5-A2C37AC5D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544" y="144139"/>
            <a:ext cx="8603241" cy="351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152FDC79-75DF-4D5A-B7F3-4650B4A28D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25"/>
          <a:stretch/>
        </p:blipFill>
        <p:spPr bwMode="auto">
          <a:xfrm>
            <a:off x="2832301" y="3782618"/>
            <a:ext cx="9359699" cy="301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A68BBA-14DA-4B3F-A0AC-AD6533DA9144}"/>
              </a:ext>
            </a:extLst>
          </p:cNvPr>
          <p:cNvSpPr txBox="1"/>
          <p:nvPr/>
        </p:nvSpPr>
        <p:spPr>
          <a:xfrm>
            <a:off x="254561" y="168916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에 대한 자세한 설명은 기대와 실제의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을 줄일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2C3FEE0-8CA2-46B8-9F47-466AC827BC5F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8B0C6D-1910-4E01-BB85-F2B8162961CD}"/>
              </a:ext>
            </a:extLst>
          </p:cNvPr>
          <p:cNvSpPr txBox="1"/>
          <p:nvPr/>
        </p:nvSpPr>
        <p:spPr>
          <a:xfrm>
            <a:off x="264468" y="2534021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기대치가 높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3EB850-452E-4A1C-95A5-8C3C2394BC67}"/>
              </a:ext>
            </a:extLst>
          </p:cNvPr>
          <p:cNvSpPr txBox="1"/>
          <p:nvPr/>
        </p:nvSpPr>
        <p:spPr>
          <a:xfrm>
            <a:off x="254561" y="343350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B8FB4E-168C-4A7F-881A-BDC2643881DD}"/>
              </a:ext>
            </a:extLst>
          </p:cNvPr>
          <p:cNvSpPr txBox="1"/>
          <p:nvPr/>
        </p:nvSpPr>
        <p:spPr>
          <a:xfrm>
            <a:off x="254561" y="436277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85805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id="{F5CB3F06-A598-41FA-8383-A532F622151F}"/>
              </a:ext>
            </a:extLst>
          </p:cNvPr>
          <p:cNvSpPr/>
          <p:nvPr/>
        </p:nvSpPr>
        <p:spPr>
          <a:xfrm>
            <a:off x="788041" y="1622041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6369997" y="1642477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156880" y="1710693"/>
            <a:ext cx="239907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배송 단계별 소요 일수 분포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8041" y="5720629"/>
            <a:ext cx="3020561" cy="698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극단적인 이상치 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20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일의 배송 예상일자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417A3309-014F-4DE5-A946-96C825002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46" y="2179513"/>
            <a:ext cx="5550327" cy="305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89A86C12-817D-4FA9-915C-F5983FD09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5101" y="2083508"/>
            <a:ext cx="5817207" cy="324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F492A88-F41A-45A2-B67B-68E8B1B78E59}"/>
              </a:ext>
            </a:extLst>
          </p:cNvPr>
          <p:cNvSpPr txBox="1"/>
          <p:nvPr/>
        </p:nvSpPr>
        <p:spPr>
          <a:xfrm>
            <a:off x="6388173" y="5720629"/>
            <a:ext cx="3020561" cy="375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요 시간 흐름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77606051-0C46-4289-B328-5F519657F70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7D1D6A6-E5E5-44AC-9919-DBF5858AC08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65785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2292" name="Picture 4">
            <a:extLst>
              <a:ext uri="{FF2B5EF4-FFF2-40B4-BE49-F238E27FC236}">
                <a16:creationId xmlns:a16="http://schemas.microsoft.com/office/drawing/2014/main" id="{10CB3D0D-1AF5-40CE-B3CD-29E623A73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298" y="1150600"/>
            <a:ext cx="843915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A5A47C1-5044-42A9-8779-5227485C673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6FE2360-9B75-4016-8C84-C0993C97532A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57852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EE64248-11FB-4AF5-BE0D-2A572CA2F03C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3130F1B2-30BA-4EC2-A46B-6F68368A8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412" y="794083"/>
            <a:ext cx="8643043" cy="556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EE4A50E0-9ADA-4AF7-B926-6318520C91D5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917074A-B840-418D-BB2C-78302BC1991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2992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22637368-027E-4378-8856-13F9E9433329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50CAA4F-1158-4A87-90DA-5BA97E12B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306" y="1010653"/>
            <a:ext cx="8747379" cy="541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F9727A0B-F0EE-459B-950A-338869300BEF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E4B9364-6366-495A-9500-7C954948462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25475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D59B90B3-2A66-416F-B6B7-AECE46E8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095" y="431738"/>
            <a:ext cx="7252078" cy="62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E502A1A-DFFF-4AAE-8541-62EEA25DA0A2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BAC5919-55E5-4F99-A779-6046FAEB96F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Feature Selection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ECDE1-D21F-492C-B5E2-68843D50437D}"/>
              </a:ext>
            </a:extLst>
          </p:cNvPr>
          <p:cNvSpPr txBox="1"/>
          <p:nvPr/>
        </p:nvSpPr>
        <p:spPr>
          <a:xfrm>
            <a:off x="436487" y="1461835"/>
            <a:ext cx="2892475" cy="686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3A0C2D-44F6-4A42-A77A-350D917F7F0D}"/>
              </a:ext>
            </a:extLst>
          </p:cNvPr>
          <p:cNvSpPr txBox="1"/>
          <p:nvPr/>
        </p:nvSpPr>
        <p:spPr>
          <a:xfrm>
            <a:off x="436487" y="1159426"/>
            <a:ext cx="3038458" cy="5047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구매제품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 구매 금액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 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 준비기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배송기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ustomer </a:t>
            </a:r>
            <a:r>
              <a:rPr lang="en-US" altLang="ko-KR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e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te</a:t>
            </a: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사진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코멘트 길이 평균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준비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건수 비중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취소건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취소율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263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/>
            <a:r>
              <a:rPr lang="ko-KR" altLang="en-US" b="1" dirty="0"/>
              <a:t>  </a:t>
            </a:r>
            <a:r>
              <a:rPr lang="ko-KR" altLang="en-US" b="1" u="sng" dirty="0"/>
              <a:t>물류 관련 변수의 경향성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</a:t>
            </a:r>
            <a:r>
              <a:rPr lang="ko-KR" altLang="en-US" dirty="0"/>
              <a:t> 고객이 제품을 주문한 후 받기까지 걸린 전체 시간이 길어질수록 고객 만족도는 감소하는 경향</a:t>
            </a:r>
            <a:endParaRPr lang="en-US" altLang="ko-KR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물류 인프라가 낙후한 지역에서 발생한 주문 건에 대한 만족도가 낮은 경향</a:t>
            </a:r>
            <a:endParaRPr lang="en-US" altLang="ko-KR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 err="1"/>
              <a:t>배송비</a:t>
            </a:r>
            <a:r>
              <a:rPr lang="ko-KR" altLang="en-US" dirty="0"/>
              <a:t> 금액이 높을수록 만족도가 낮은 경향</a:t>
            </a:r>
            <a:endParaRPr lang="en-US" altLang="ko-KR" dirty="0"/>
          </a:p>
          <a:p>
            <a:pPr marL="0" lvl="1"/>
            <a:endParaRPr lang="en-US" altLang="ko-KR" b="1" dirty="0"/>
          </a:p>
          <a:p>
            <a:pPr marL="0" lvl="1"/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물류 파트너 및 인프라 확보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b="1" dirty="0"/>
              <a:t>새로운 물류 파트너 및 지역별 물류 거점 확보</a:t>
            </a:r>
            <a:r>
              <a:rPr lang="ko-KR" altLang="en-US" dirty="0"/>
              <a:t>로 고객 만족도에 가장 큰 영향을 미치는 </a:t>
            </a:r>
            <a:r>
              <a:rPr lang="ko-KR" altLang="en-US" b="1" dirty="0"/>
              <a:t>배송시간 단축</a:t>
            </a:r>
            <a:endParaRPr lang="en-US" altLang="ko-KR" b="1" dirty="0"/>
          </a:p>
          <a:p>
            <a:pPr marL="0" lvl="1"/>
            <a:r>
              <a:rPr lang="en-US" altLang="ko-KR" dirty="0">
                <a:solidFill>
                  <a:srgbClr val="FF0000"/>
                </a:solidFill>
              </a:rPr>
              <a:t>  </a:t>
            </a:r>
            <a:r>
              <a:rPr lang="en-US" altLang="ko-KR" dirty="0"/>
              <a:t>- </a:t>
            </a:r>
            <a:r>
              <a:rPr lang="en-US" altLang="ko-KR" dirty="0" err="1"/>
              <a:t>Olist</a:t>
            </a:r>
            <a:r>
              <a:rPr lang="ko-KR" altLang="en-US" dirty="0"/>
              <a:t>는 실제로 물류에 대한 투자를 </a:t>
            </a:r>
            <a:r>
              <a:rPr lang="ko-KR" altLang="en-US" dirty="0" err="1"/>
              <a:t>확대중이며</a:t>
            </a:r>
            <a:r>
              <a:rPr lang="en-US" altLang="ko-KR" dirty="0"/>
              <a:t>, </a:t>
            </a:r>
            <a:r>
              <a:rPr lang="ko-KR" altLang="en-US" dirty="0"/>
              <a:t>작년 하반기 </a:t>
            </a:r>
            <a:r>
              <a:rPr lang="ko-KR" altLang="en-US" dirty="0" err="1"/>
              <a:t>물류사</a:t>
            </a:r>
            <a:r>
              <a:rPr lang="ko-KR" altLang="en-US" dirty="0"/>
              <a:t> </a:t>
            </a:r>
            <a:r>
              <a:rPr lang="en-US" altLang="ko-KR" dirty="0"/>
              <a:t>PAX</a:t>
            </a:r>
            <a:r>
              <a:rPr lang="ko-KR" altLang="en-US" dirty="0"/>
              <a:t>를 인수하였음</a:t>
            </a:r>
            <a:endParaRPr lang="en-US" altLang="ko-KR" dirty="0"/>
          </a:p>
          <a:p>
            <a:pPr marL="0" lvl="1"/>
            <a:r>
              <a:rPr lang="ko-KR" altLang="en-US" dirty="0"/>
              <a:t>    기존 </a:t>
            </a:r>
            <a:r>
              <a:rPr lang="en-US" altLang="ko-KR" dirty="0"/>
              <a:t>5</a:t>
            </a:r>
            <a:r>
              <a:rPr lang="ko-KR" altLang="en-US" dirty="0"/>
              <a:t>개 물류허브에 더해 올해 </a:t>
            </a:r>
            <a:r>
              <a:rPr lang="en-US" altLang="ko-KR" dirty="0"/>
              <a:t>30</a:t>
            </a:r>
            <a:r>
              <a:rPr lang="ko-KR" altLang="en-US" dirty="0"/>
              <a:t>개를</a:t>
            </a:r>
            <a:r>
              <a:rPr lang="en-US" altLang="ko-KR" dirty="0"/>
              <a:t> </a:t>
            </a:r>
            <a:r>
              <a:rPr lang="ko-KR" altLang="en-US" dirty="0"/>
              <a:t>추가로 </a:t>
            </a:r>
            <a:r>
              <a:rPr lang="ko-KR" altLang="en-US" dirty="0" err="1"/>
              <a:t>오픈하여</a:t>
            </a:r>
            <a:r>
              <a:rPr lang="ko-KR" altLang="en-US" dirty="0"/>
              <a:t> 다양한 도시에서의 배송 커버할 예정</a:t>
            </a:r>
            <a:endParaRPr lang="en-US" altLang="ko-KR" dirty="0"/>
          </a:p>
          <a:p>
            <a:pPr marL="0" lvl="1"/>
            <a:r>
              <a:rPr lang="en-US" altLang="ko-KR" dirty="0"/>
              <a:t> 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785947" y="6450670"/>
            <a:ext cx="65939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/>
              <a:t>기사 출처 </a:t>
            </a:r>
            <a:r>
              <a:rPr lang="en-US" altLang="ko-KR" sz="900" dirty="0"/>
              <a:t>: https://labsnews.com/en/news/business/brazil-based-olist-buys-technology-and-logistics-startup-pax/</a:t>
            </a:r>
            <a:endParaRPr lang="ko-KR" altLang="en-US" sz="900" dirty="0"/>
          </a:p>
        </p:txBody>
      </p:sp>
      <p:grpSp>
        <p:nvGrpSpPr>
          <p:cNvPr id="3" name="그룹 2"/>
          <p:cNvGrpSpPr/>
          <p:nvPr/>
        </p:nvGrpSpPr>
        <p:grpSpPr>
          <a:xfrm>
            <a:off x="740488" y="4435592"/>
            <a:ext cx="10675933" cy="1432704"/>
            <a:chOff x="740488" y="5018376"/>
            <a:chExt cx="10675933" cy="143270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88" y="5076759"/>
              <a:ext cx="4546726" cy="9354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8695" y="5018376"/>
              <a:ext cx="6047726" cy="1432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타원 12"/>
            <p:cNvSpPr/>
            <p:nvPr/>
          </p:nvSpPr>
          <p:spPr>
            <a:xfrm>
              <a:off x="9216428" y="5018376"/>
              <a:ext cx="108641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/>
            <p:cNvSpPr/>
            <p:nvPr/>
          </p:nvSpPr>
          <p:spPr>
            <a:xfrm>
              <a:off x="5368695" y="5859727"/>
              <a:ext cx="142844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86737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28">
            <a:extLst>
              <a:ext uri="{FF2B5EF4-FFF2-40B4-BE49-F238E27FC236}">
                <a16:creationId xmlns:a16="http://schemas.microsoft.com/office/drawing/2014/main" id="{46D6306C-ED4F-4AAE-B4A5-EEA6AFAD7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0">
            <a:extLst>
              <a:ext uri="{FF2B5EF4-FFF2-40B4-BE49-F238E27FC236}">
                <a16:creationId xmlns:a16="http://schemas.microsoft.com/office/drawing/2014/main" id="{0EC5361D-F897-4856-B945-0455A365E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15435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0" name="Freeform: Shape 32">
            <a:extLst>
              <a:ext uri="{FF2B5EF4-FFF2-40B4-BE49-F238E27FC236}">
                <a16:creationId xmlns:a16="http://schemas.microsoft.com/office/drawing/2014/main" id="{4508C0C5-2268-42B5-B3C8-4D0899E05F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41ACBDB-38F8-4B34-8183-BD95B4E55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739327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E00DB52-3455-4E2F-867B-A6D0516E1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653800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9E914C83-E0D8-4953-92D5-169D28CB4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5423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3512E083-F550-46AF-8490-767ECFD00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67297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820579" y="4848443"/>
            <a:ext cx="3138280" cy="877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9 files, 52colums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으로 구성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축소된 실무 </a:t>
            </a: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B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구조와 유사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C2DAF6-3551-425C-B8CD-D557BD77BE0B}"/>
              </a:ext>
            </a:extLst>
          </p:cNvPr>
          <p:cNvSpPr txBox="1"/>
          <p:nvPr/>
        </p:nvSpPr>
        <p:spPr>
          <a:xfrm>
            <a:off x="581890" y="669041"/>
            <a:ext cx="3615658" cy="21784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Data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Schem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60394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881726" y="380806"/>
            <a:ext cx="1122740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marL="0" lvl="1"/>
            <a:endParaRPr lang="en-US" altLang="ko-KR" b="1" u="sng" dirty="0"/>
          </a:p>
          <a:p>
            <a:pPr marL="0" lvl="1"/>
            <a:r>
              <a:rPr lang="en-US" altLang="ko-KR" b="1" u="sng" dirty="0"/>
              <a:t>2) Seller Care</a:t>
            </a:r>
          </a:p>
          <a:p>
            <a:pPr marL="0" lvl="1"/>
            <a:endParaRPr lang="en-US" altLang="ko-KR" b="1" dirty="0"/>
          </a:p>
          <a:p>
            <a:pPr marL="0" lvl="1"/>
            <a:r>
              <a:rPr lang="ko-KR" altLang="en-US" b="1" dirty="0"/>
              <a:t>  </a:t>
            </a:r>
            <a:r>
              <a:rPr lang="ko-KR" altLang="en-US" b="1" u="sng" dirty="0"/>
              <a:t>셀러 관련 변수의 경향성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판매했던 제품의 준비기간 평균이 길수록 만족도 감소하는 경향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</a:t>
            </a:r>
            <a:r>
              <a:rPr lang="ko-KR" altLang="en-US" dirty="0"/>
              <a:t> 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받았던 </a:t>
            </a:r>
            <a:r>
              <a:rPr lang="en-US" altLang="ko-KR" dirty="0" err="1"/>
              <a:t>review_comment</a:t>
            </a:r>
            <a:r>
              <a:rPr lang="en-US" altLang="ko-KR" dirty="0"/>
              <a:t> </a:t>
            </a:r>
            <a:r>
              <a:rPr lang="ko-KR" altLang="en-US" dirty="0"/>
              <a:t>글자수가 많을수록 만족도 감소하는 경향</a:t>
            </a:r>
            <a:endParaRPr lang="en-US" altLang="ko-KR" dirty="0"/>
          </a:p>
          <a:p>
            <a:pPr marL="0" lvl="1"/>
            <a:endParaRPr lang="en-US" altLang="ko-KR" b="1" dirty="0"/>
          </a:p>
          <a:p>
            <a:pPr marL="0" lvl="1"/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셀러 관리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리뷰 코멘트 글자수</a:t>
            </a:r>
            <a:r>
              <a:rPr lang="en-US" altLang="ko-KR" dirty="0"/>
              <a:t>, </a:t>
            </a:r>
            <a:r>
              <a:rPr lang="ko-KR" altLang="en-US" dirty="0"/>
              <a:t>상품 배송 준비기간 등 셀러의 과거 판매 데이터 중 고객 만족도에 비교적</a:t>
            </a:r>
            <a:endParaRPr lang="en-US" altLang="ko-KR" dirty="0"/>
          </a:p>
          <a:p>
            <a:pPr marL="0" lvl="1"/>
            <a:r>
              <a:rPr lang="en-US" altLang="ko-KR" dirty="0"/>
              <a:t>   </a:t>
            </a:r>
            <a:r>
              <a:rPr lang="ko-KR" altLang="en-US" dirty="0"/>
              <a:t> 큰 영향을</a:t>
            </a:r>
            <a:r>
              <a:rPr lang="en-US" altLang="ko-KR" dirty="0"/>
              <a:t> </a:t>
            </a:r>
            <a:r>
              <a:rPr lang="ko-KR" altLang="en-US" dirty="0"/>
              <a:t>미치는 지표를 추적하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서비스 개선이 필요한 셀러를 조기에 탐지 및 관리</a:t>
            </a:r>
            <a:endParaRPr lang="en-US" altLang="ko-KR" b="1" dirty="0"/>
          </a:p>
          <a:p>
            <a:pPr marL="0" lvl="1"/>
            <a:endParaRPr lang="en-US" altLang="ko-KR" dirty="0"/>
          </a:p>
        </p:txBody>
      </p:sp>
      <p:sp>
        <p:nvSpPr>
          <p:cNvPr id="3" name="직사각형 2"/>
          <p:cNvSpPr/>
          <p:nvPr/>
        </p:nvSpPr>
        <p:spPr>
          <a:xfrm>
            <a:off x="6011903" y="6376304"/>
            <a:ext cx="53110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/>
              <a:t>이미지 출처 </a:t>
            </a:r>
            <a:r>
              <a:rPr lang="en-US" altLang="ko-KR" sz="900" dirty="0"/>
              <a:t>: https://dribbble.com/shots/4952761-Seller-Management-Dashboard-for-Admin-Use</a:t>
            </a:r>
            <a:endParaRPr lang="ko-KR" altLang="en-US" sz="900" dirty="0"/>
          </a:p>
        </p:txBody>
      </p:sp>
      <p:grpSp>
        <p:nvGrpSpPr>
          <p:cNvPr id="16" name="그룹 15"/>
          <p:cNvGrpSpPr/>
          <p:nvPr/>
        </p:nvGrpSpPr>
        <p:grpSpPr>
          <a:xfrm>
            <a:off x="2258913" y="3985883"/>
            <a:ext cx="7070356" cy="2621253"/>
            <a:chOff x="1557573" y="3888847"/>
            <a:chExt cx="7070356" cy="2621253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0965" y="4266361"/>
              <a:ext cx="2757642" cy="1433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그룹 14"/>
            <p:cNvGrpSpPr/>
            <p:nvPr/>
          </p:nvGrpSpPr>
          <p:grpSpPr>
            <a:xfrm>
              <a:off x="1557573" y="3888847"/>
              <a:ext cx="7070356" cy="2621253"/>
              <a:chOff x="1086817" y="3888847"/>
              <a:chExt cx="7070356" cy="2621253"/>
            </a:xfrm>
          </p:grpSpPr>
          <p:sp>
            <p:nvSpPr>
              <p:cNvPr id="5" name="사각형 설명선 4"/>
              <p:cNvSpPr/>
              <p:nvPr/>
            </p:nvSpPr>
            <p:spPr>
              <a:xfrm>
                <a:off x="5060887" y="3888847"/>
                <a:ext cx="3096286" cy="1950638"/>
              </a:xfrm>
              <a:prstGeom prst="wedgeRectCallout">
                <a:avLst>
                  <a:gd name="adj1" fmla="val -61080"/>
                  <a:gd name="adj2" fmla="val 46720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/>
              <p:cNvSpPr/>
              <p:nvPr/>
            </p:nvSpPr>
            <p:spPr>
              <a:xfrm>
                <a:off x="5323335" y="3970324"/>
                <a:ext cx="2621230" cy="253916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050" b="1" dirty="0" err="1"/>
                  <a:t>Review_comment_count</a:t>
                </a:r>
                <a:r>
                  <a:rPr lang="en-US" altLang="ko-KR" sz="1050" b="1" dirty="0"/>
                  <a:t> Top 50 Seller</a:t>
                </a:r>
                <a:endParaRPr lang="ko-KR" altLang="en-US" sz="1050" b="1" dirty="0"/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817" y="3888847"/>
                <a:ext cx="3650690" cy="26212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3" name="사각형 설명선 12"/>
              <p:cNvSpPr/>
              <p:nvPr/>
            </p:nvSpPr>
            <p:spPr>
              <a:xfrm>
                <a:off x="2777905" y="5296510"/>
                <a:ext cx="1830309" cy="975319"/>
              </a:xfrm>
              <a:prstGeom prst="wedgeRectCallout">
                <a:avLst>
                  <a:gd name="adj1" fmla="val -47938"/>
                  <a:gd name="adj2" fmla="val 31868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83849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824586" y="428746"/>
            <a:ext cx="11227409" cy="586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/>
              <a:t>분석 한계</a:t>
            </a:r>
            <a:endParaRPr lang="en-US" altLang="ko-KR" b="1" dirty="0"/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b="1" u="sng" dirty="0"/>
              <a:t>셀러 분포</a:t>
            </a:r>
            <a:endParaRPr lang="en-US" altLang="ko-KR" b="1" u="sng" dirty="0"/>
          </a:p>
          <a:p>
            <a:pPr marL="342900" indent="-342900">
              <a:lnSpc>
                <a:spcPct val="150000"/>
              </a:lnSpc>
              <a:buAutoNum type="arabicParenR"/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주어진 </a:t>
            </a:r>
            <a:r>
              <a:rPr lang="ko-KR" altLang="en-US" dirty="0" err="1"/>
              <a:t>데이터셋에서</a:t>
            </a:r>
            <a:r>
              <a:rPr lang="ko-KR" altLang="en-US" dirty="0"/>
              <a:t> </a:t>
            </a:r>
            <a:r>
              <a:rPr lang="ko-KR" altLang="en-US" b="1" dirty="0"/>
              <a:t>판매 건수가 </a:t>
            </a:r>
            <a:r>
              <a:rPr lang="en-US" altLang="ko-KR" b="1" dirty="0"/>
              <a:t>1</a:t>
            </a:r>
            <a:r>
              <a:rPr lang="ko-KR" altLang="en-US" b="1" dirty="0"/>
              <a:t>건인 셀러</a:t>
            </a:r>
            <a:r>
              <a:rPr lang="ko-KR" altLang="en-US" dirty="0"/>
              <a:t>는 전체 </a:t>
            </a:r>
            <a:r>
              <a:rPr lang="en-US" altLang="ko-KR" dirty="0"/>
              <a:t>3,095</a:t>
            </a:r>
            <a:r>
              <a:rPr lang="ko-KR" altLang="en-US" dirty="0"/>
              <a:t>명 중 </a:t>
            </a:r>
            <a:r>
              <a:rPr lang="en-US" altLang="ko-KR" dirty="0"/>
              <a:t>563</a:t>
            </a:r>
            <a:r>
              <a:rPr lang="ko-KR" altLang="en-US" dirty="0"/>
              <a:t>명으로</a:t>
            </a:r>
            <a:r>
              <a:rPr lang="en-US" altLang="ko-KR" dirty="0"/>
              <a:t> </a:t>
            </a:r>
            <a:r>
              <a:rPr lang="en-US" altLang="ko-KR" b="1" dirty="0"/>
              <a:t>18.2%</a:t>
            </a:r>
            <a:r>
              <a:rPr lang="ko-KR" altLang="en-US" dirty="0"/>
              <a:t>를</a:t>
            </a:r>
            <a:r>
              <a:rPr lang="en-US" altLang="ko-KR" dirty="0"/>
              <a:t> </a:t>
            </a:r>
            <a:r>
              <a:rPr lang="ko-KR" altLang="en-US" dirty="0"/>
              <a:t>차지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당초 셀러를 </a:t>
            </a:r>
            <a:r>
              <a:rPr lang="ko-KR" altLang="en-US" dirty="0" err="1"/>
              <a:t>클러스터링</a:t>
            </a:r>
            <a:r>
              <a:rPr lang="ko-KR" altLang="en-US" dirty="0"/>
              <a:t> 하여 등급을 나누고</a:t>
            </a:r>
            <a:r>
              <a:rPr lang="en-US" altLang="ko-KR" dirty="0"/>
              <a:t>, </a:t>
            </a:r>
            <a:r>
              <a:rPr lang="ko-KR" altLang="en-US" dirty="0"/>
              <a:t>고객만족도 예측에 해당 등급을 사용하고자 하였으나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각 셀러의 특징을 구분하기 위한 데이터가 충분하지 못해 </a:t>
            </a:r>
            <a:r>
              <a:rPr lang="ko-KR" altLang="en-US" b="1" dirty="0" err="1"/>
              <a:t>클러스터링을</a:t>
            </a:r>
            <a:r>
              <a:rPr lang="ko-KR" altLang="en-US" b="1" dirty="0"/>
              <a:t> 활용하지 못함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r>
              <a:rPr lang="en-US" altLang="ko-KR" b="1" dirty="0"/>
              <a:t>   (</a:t>
            </a:r>
            <a:r>
              <a:rPr lang="ko-KR" altLang="en-US" b="1" dirty="0"/>
              <a:t>직전 </a:t>
            </a:r>
            <a:r>
              <a:rPr lang="en-US" altLang="ko-KR" b="1" dirty="0"/>
              <a:t>3</a:t>
            </a:r>
            <a:r>
              <a:rPr lang="ko-KR" altLang="en-US" b="1" dirty="0"/>
              <a:t>개월 매출</a:t>
            </a:r>
            <a:r>
              <a:rPr lang="en-US" altLang="ko-KR" b="1" dirty="0"/>
              <a:t>, </a:t>
            </a:r>
            <a:r>
              <a:rPr lang="ko-KR" altLang="en-US" b="1" dirty="0"/>
              <a:t>판매건수</a:t>
            </a:r>
            <a:r>
              <a:rPr lang="en-US" altLang="ko-KR" b="1" dirty="0"/>
              <a:t>, </a:t>
            </a:r>
            <a:r>
              <a:rPr lang="ko-KR" altLang="en-US" b="1" dirty="0"/>
              <a:t>배송준비일수 등</a:t>
            </a:r>
            <a:r>
              <a:rPr lang="en-US" altLang="ko-KR" b="1" dirty="0"/>
              <a:t>)</a:t>
            </a:r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ko-KR" altLang="en-US" b="1" u="sng" dirty="0"/>
              <a:t>데이터 구성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고객이 여러 셀러에게서 한번에 다양한 제품을 구매한 경우에도 주문에 대한 만족도 점수는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1</a:t>
            </a:r>
            <a:r>
              <a:rPr lang="ko-KR" altLang="en-US" dirty="0"/>
              <a:t>건으로 집계되어</a:t>
            </a:r>
            <a:r>
              <a:rPr lang="en-US" altLang="ko-KR" dirty="0"/>
              <a:t> </a:t>
            </a:r>
            <a:r>
              <a:rPr lang="ko-KR" altLang="en-US" b="1" dirty="0"/>
              <a:t>정확히 어떤 셀러</a:t>
            </a:r>
            <a:r>
              <a:rPr lang="en-US" altLang="ko-KR" b="1" dirty="0"/>
              <a:t>, </a:t>
            </a:r>
            <a:r>
              <a:rPr lang="ko-KR" altLang="en-US" b="1" dirty="0"/>
              <a:t>제품에 대한 만족도인지 구별하기 어려운 경우</a:t>
            </a:r>
            <a:r>
              <a:rPr lang="ko-KR" altLang="en-US" dirty="0"/>
              <a:t>가 있었음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해당 데이터를 삭제 후 진행하였으나</a:t>
            </a:r>
            <a:r>
              <a:rPr lang="en-US" altLang="ko-KR" dirty="0"/>
              <a:t>, </a:t>
            </a:r>
            <a:r>
              <a:rPr lang="ko-KR" altLang="en-US" b="1" dirty="0"/>
              <a:t>만족도 조사가 제품단위로 기록</a:t>
            </a:r>
            <a:r>
              <a:rPr lang="ko-KR" altLang="en-US" dirty="0"/>
              <a:t>되어 있다면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dirty="0"/>
              <a:t>보다 정확하고 풍부한 데이터로 분석을 진행할 수 있을 것으로 보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274966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964591" y="428178"/>
            <a:ext cx="11227409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개선방향</a:t>
            </a:r>
            <a:endParaRPr lang="en-US" altLang="ko-KR" b="1" u="sng" dirty="0"/>
          </a:p>
          <a:p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1) </a:t>
            </a:r>
            <a:r>
              <a:rPr lang="ko-KR" altLang="en-US" b="1" u="sng" dirty="0"/>
              <a:t>새로운 모델 생성 및 앙상블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</a:t>
            </a:r>
            <a:r>
              <a:rPr lang="ko-KR" altLang="en-US" b="1" dirty="0" err="1"/>
              <a:t>결측치를</a:t>
            </a:r>
            <a:r>
              <a:rPr lang="ko-KR" altLang="en-US" b="1" dirty="0"/>
              <a:t> 남겨둔 경우와 대체한 경우 모두 실험</a:t>
            </a:r>
            <a:r>
              <a:rPr lang="ko-KR" altLang="en-US" dirty="0"/>
              <a:t>을 진행하고자 </a:t>
            </a:r>
            <a:r>
              <a:rPr lang="en-US" altLang="ko-KR" b="1" dirty="0"/>
              <a:t>XGB, LGBM </a:t>
            </a:r>
            <a:r>
              <a:rPr lang="ko-KR" altLang="en-US" dirty="0"/>
              <a:t>모델 사용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결측치를</a:t>
            </a:r>
            <a:r>
              <a:rPr lang="ko-KR" altLang="en-US" dirty="0"/>
              <a:t> 모두 대체한 후 </a:t>
            </a:r>
            <a:r>
              <a:rPr lang="en-US" altLang="ko-KR" b="1" dirty="0"/>
              <a:t>Logistic Regression, Decision Tree, Random Forest </a:t>
            </a:r>
            <a:r>
              <a:rPr lang="ko-KR" altLang="en-US" b="1" dirty="0"/>
              <a:t>추가 실험 </a:t>
            </a:r>
            <a:r>
              <a:rPr lang="ko-KR" altLang="en-US" dirty="0"/>
              <a:t>및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모델간 앙상블</a:t>
            </a:r>
            <a:r>
              <a:rPr lang="ko-KR" altLang="en-US" dirty="0"/>
              <a:t> 진행 예정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en-US" altLang="ko-KR" b="1" u="sng" dirty="0"/>
              <a:t>Feature Engineering</a:t>
            </a:r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en-US" altLang="ko-KR" dirty="0" err="1"/>
              <a:t>Olist</a:t>
            </a:r>
            <a:r>
              <a:rPr lang="ko-KR" altLang="en-US" dirty="0"/>
              <a:t>에서 제공된 </a:t>
            </a:r>
            <a:r>
              <a:rPr lang="ko-KR" altLang="en-US" dirty="0" err="1"/>
              <a:t>데이터셋</a:t>
            </a:r>
            <a:r>
              <a:rPr lang="ko-KR" altLang="en-US" dirty="0"/>
              <a:t> 종류가 다양해 분석기간 중 지속적으로 유의미한 변수를 발견할 수 있었음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b="1" dirty="0" err="1"/>
              <a:t>피쳐엔지니어링을</a:t>
            </a:r>
            <a:r>
              <a:rPr lang="ko-KR" altLang="en-US" b="1" dirty="0"/>
              <a:t> 통한 입력변수</a:t>
            </a:r>
            <a:r>
              <a:rPr lang="en-US" altLang="ko-KR" b="1" dirty="0"/>
              <a:t> </a:t>
            </a:r>
            <a:r>
              <a:rPr lang="ko-KR" altLang="en-US" b="1" dirty="0"/>
              <a:t>추가 확보</a:t>
            </a:r>
            <a:r>
              <a:rPr lang="en-US" altLang="ko-KR" b="1" dirty="0"/>
              <a:t> </a:t>
            </a:r>
            <a:r>
              <a:rPr lang="ko-KR" altLang="en-US" b="1" dirty="0"/>
              <a:t>및 상관성 높은 변수 간의 </a:t>
            </a:r>
            <a:r>
              <a:rPr lang="en-US" altLang="ko-KR" b="1" dirty="0"/>
              <a:t>PCA </a:t>
            </a:r>
            <a:r>
              <a:rPr lang="ko-KR" altLang="en-US" b="1" dirty="0"/>
              <a:t>진행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endParaRPr lang="en-US" altLang="ko-KR" b="1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3) </a:t>
            </a:r>
            <a:r>
              <a:rPr lang="en-US" altLang="ko-KR" b="1" u="sng" dirty="0" err="1"/>
              <a:t>Hyperparameter</a:t>
            </a:r>
            <a:r>
              <a:rPr lang="en-US" altLang="ko-KR" b="1" u="sng" dirty="0"/>
              <a:t> Tuning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이해가 부족하여 분석기간 내 최적의 튜닝조건을 찾지 못함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사용 모델의 주요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학습 후 튜닝조건 재설정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1826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A3469DD-571F-48DF-9C86-F71920F1CC0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7683" y="313275"/>
            <a:ext cx="11596634" cy="6223729"/>
          </a:xfrm>
          <a:prstGeom prst="rect">
            <a:avLst/>
          </a:prstGeom>
        </p:spPr>
      </p:pic>
      <p:sp>
        <p:nvSpPr>
          <p:cNvPr id="9" name="Rectangle 23">
            <a:extLst>
              <a:ext uri="{FF2B5EF4-FFF2-40B4-BE49-F238E27FC236}">
                <a16:creationId xmlns:a16="http://schemas.microsoft.com/office/drawing/2014/main" id="{9B8B652B-B4A9-48C3-98B8-FFDAC5DC46DE}"/>
              </a:ext>
            </a:extLst>
          </p:cNvPr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>
              <a:latin typeface="LG Smart UI Light" panose="020B0300000101010101" pitchFamily="50" charset="-127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91662980-2F88-4D77-BDCA-8E47FC9ECA05}"/>
              </a:ext>
            </a:extLst>
          </p:cNvPr>
          <p:cNvSpPr/>
          <p:nvPr/>
        </p:nvSpPr>
        <p:spPr>
          <a:xfrm>
            <a:off x="305583" y="320996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2FC64DC-270E-4CD9-8C94-D280BC14A62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645" b="88832" l="8447" r="89918">
                        <a14:foregroundMark x1="8447" y1="54315" x2="8447" y2="54315"/>
                        <a14:foregroundMark x1="36240" y1="50761" x2="36240" y2="50761"/>
                        <a14:foregroundMark x1="49319" y1="46193" x2="49319" y2="46193"/>
                        <a14:foregroundMark x1="47139" y1="23350" x2="47139" y2="23350"/>
                        <a14:foregroundMark x1="62670" y1="42132" x2="62670" y2="42132"/>
                        <a14:foregroundMark x1="80654" y1="37563" x2="80654" y2="37563"/>
                      </a14:backgroundRemoval>
                    </a14:imgEffect>
                    <a14:imgEffect>
                      <a14:sharpenSoften amount="100000"/>
                    </a14:imgEffect>
                    <a14:imgEffect>
                      <a14:saturation sat="165000"/>
                    </a14:imgEffect>
                  </a14:imgLayer>
                </a14:imgProps>
              </a:ext>
            </a:extLst>
          </a:blip>
          <a:srcRect r="-1" b="1012"/>
          <a:stretch/>
        </p:blipFill>
        <p:spPr>
          <a:xfrm>
            <a:off x="1494276" y="544018"/>
            <a:ext cx="4197717" cy="2230432"/>
          </a:xfrm>
          <a:prstGeom prst="rect">
            <a:avLst/>
          </a:prstGeom>
        </p:spPr>
      </p:pic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F1DF5F7-D09F-40D6-8E93-1241C6E07751}"/>
              </a:ext>
            </a:extLst>
          </p:cNvPr>
          <p:cNvSpPr txBox="1">
            <a:spLocks/>
          </p:cNvSpPr>
          <p:nvPr/>
        </p:nvSpPr>
        <p:spPr>
          <a:xfrm>
            <a:off x="-250162" y="2634609"/>
            <a:ext cx="4792134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i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755815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453005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548BF1F-78E8-43B3-88B9-E16AB5EC1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912" y="394999"/>
            <a:ext cx="6891249" cy="60680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D41586-866C-4DE2-8D70-5CC84CA49A06}"/>
              </a:ext>
            </a:extLst>
          </p:cNvPr>
          <p:cNvSpPr txBox="1"/>
          <p:nvPr/>
        </p:nvSpPr>
        <p:spPr>
          <a:xfrm>
            <a:off x="441856" y="233660"/>
            <a:ext cx="2371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오픈마켓 솔루션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62CE64-2D91-4FDD-ACF0-35E371D5E4DE}"/>
              </a:ext>
            </a:extLst>
          </p:cNvPr>
          <p:cNvSpPr txBox="1"/>
          <p:nvPr/>
        </p:nvSpPr>
        <p:spPr>
          <a:xfrm>
            <a:off x="441856" y="747352"/>
            <a:ext cx="3987531" cy="7056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ko-KR" altLang="en-US" sz="1200" b="1" i="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업소개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온라인 판매를 원하는 판매자가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내 메인 온라인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에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간편하게 입점하고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쇼핑몰을 운영할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있도록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하는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솔루션 업체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. 2015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설립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서비스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프트웨어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플랫폼 통합관리 솔루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와의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제휴 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마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르카도리브레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메리카나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등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플랫폼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입점 개런티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퍼레이션 관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홍보 카탈로그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경쟁업체와의 비교를 통한 가격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S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센터 운영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서비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15%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비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절감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(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우체국과 전속계약을 통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기간 및 경비 단축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88002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6336149" y="0"/>
            <a:ext cx="58558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D159E25-9697-45AC-AC72-065515A78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78" y="250859"/>
            <a:ext cx="5671127" cy="375979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6F5D3430-D723-46D1-AB29-644C5E865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8" t="14814" r="1024" b="17054"/>
          <a:stretch/>
        </p:blipFill>
        <p:spPr>
          <a:xfrm>
            <a:off x="135537" y="4674967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29B4A1A2-2E90-42F4-B08C-A35FDC512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46" t="14814" r="1646" b="17054"/>
          <a:stretch/>
        </p:blipFill>
        <p:spPr>
          <a:xfrm>
            <a:off x="1390241" y="4669976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0FF3600E-24E7-4E99-BE1C-56DA328AB59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814" b="15237"/>
          <a:stretch/>
        </p:blipFill>
        <p:spPr>
          <a:xfrm>
            <a:off x="2640408" y="4619225"/>
            <a:ext cx="1152653" cy="17917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3BC1118-B5CB-4691-B969-6491BB0C9A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3" t="14813" r="1819" b="15590"/>
          <a:stretch/>
        </p:blipFill>
        <p:spPr>
          <a:xfrm>
            <a:off x="3957845" y="4650252"/>
            <a:ext cx="1114707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34DC8156-DEF0-4886-BB22-0BCF0732D2E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641" b="15404"/>
          <a:stretch/>
        </p:blipFill>
        <p:spPr>
          <a:xfrm>
            <a:off x="5212550" y="4628259"/>
            <a:ext cx="1152654" cy="17918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C344227-80A0-4D5D-9978-699675E986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0744" y="250859"/>
            <a:ext cx="5190178" cy="6356282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B5F9DD74-BBF0-4AD5-B72E-AA8F7A23A8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5000" b="15404"/>
          <a:stretch/>
        </p:blipFill>
        <p:spPr>
          <a:xfrm>
            <a:off x="6534525" y="4598460"/>
            <a:ext cx="1152653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978931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134A6A0B-72A8-49BA-AF2C-9DF77E5F24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8134"/>
          <a:stretch/>
        </p:blipFill>
        <p:spPr>
          <a:xfrm>
            <a:off x="415107" y="688190"/>
            <a:ext cx="5249644" cy="548162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2A7F2FFE-FF43-485F-8218-B3C5311C1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9599" y="276494"/>
            <a:ext cx="4141735" cy="5258913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074DBA2-9EE5-4F4E-B0CF-416711B647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0954" y="1651337"/>
            <a:ext cx="4821594" cy="51059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6E6F08-8B12-40D1-A4AC-59D9198754B6}"/>
              </a:ext>
            </a:extLst>
          </p:cNvPr>
          <p:cNvSpPr txBox="1"/>
          <p:nvPr/>
        </p:nvSpPr>
        <p:spPr>
          <a:xfrm>
            <a:off x="415107" y="164062"/>
            <a:ext cx="2371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국내 업체 예시</a:t>
            </a: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1F394498-F8BC-4B98-B919-A13B0CC61931}"/>
              </a:ext>
            </a:extLst>
          </p:cNvPr>
          <p:cNvSpPr/>
          <p:nvPr/>
        </p:nvSpPr>
        <p:spPr>
          <a:xfrm>
            <a:off x="1697861" y="2905950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플레이오토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A8284CF3-EF85-42DB-8054-34C495226F01}"/>
              </a:ext>
            </a:extLst>
          </p:cNvPr>
          <p:cNvSpPr/>
          <p:nvPr/>
        </p:nvSpPr>
        <p:spPr>
          <a:xfrm>
            <a:off x="5777220" y="366200"/>
            <a:ext cx="188193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신세계</a:t>
            </a:r>
            <a:r>
              <a:rPr lang="en-US" altLang="ko-KR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I&amp;C </a:t>
            </a:r>
            <a:r>
              <a:rPr lang="ko-KR" altLang="en-US" sz="24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셀픽</a:t>
            </a:r>
            <a:endParaRPr lang="ko-KR" altLang="en-US" sz="2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8F16B7C9-65B3-4D27-8DCD-592E47335ED7}"/>
              </a:ext>
            </a:extLst>
          </p:cNvPr>
          <p:cNvSpPr/>
          <p:nvPr/>
        </p:nvSpPr>
        <p:spPr>
          <a:xfrm>
            <a:off x="8850599" y="4974379"/>
            <a:ext cx="180342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쿠팡</a:t>
            </a:r>
            <a:endParaRPr lang="en-US" altLang="ko-KR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  <a:p>
            <a:pPr algn="ctr"/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(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마켓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+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솔루션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)</a:t>
            </a:r>
            <a:endParaRPr lang="ko-KR" altLang="en-US" sz="1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5695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58CF2A4B-16A6-4C89-A541-A3D45D8A112B}"/>
              </a:ext>
            </a:extLst>
          </p:cNvPr>
          <p:cNvSpPr/>
          <p:nvPr/>
        </p:nvSpPr>
        <p:spPr>
          <a:xfrm>
            <a:off x="0" y="0"/>
            <a:ext cx="354854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endParaRPr lang="en-US" altLang="ko-KR" sz="1800" b="1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FFA7D4E-DDDB-4507-BC7A-7FA440C88D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4691" y="78509"/>
            <a:ext cx="7890263" cy="67009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1592D1-7396-47B1-AE08-5D20808F8311}"/>
              </a:ext>
            </a:extLst>
          </p:cNvPr>
          <p:cNvSpPr txBox="1"/>
          <p:nvPr/>
        </p:nvSpPr>
        <p:spPr>
          <a:xfrm>
            <a:off x="391486" y="363170"/>
            <a:ext cx="3251200" cy="2667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b="1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익 모델</a:t>
            </a: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제품 판매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1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건당 중개 수수료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플랫폼 월 이용요금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dirty="0" err="1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멤버쉽</a:t>
            </a:r>
            <a:r>
              <a:rPr lang="ko-KR" altLang="en-US" sz="1400" dirty="0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 가입비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→</a:t>
            </a:r>
            <a:r>
              <a:rPr lang="en-US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Seller</a:t>
            </a:r>
            <a:r>
              <a:rPr lang="ko-KR" altLang="en-US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를 통해 수익을 창출 </a:t>
            </a:r>
            <a:r>
              <a:rPr lang="ko-KR" altLang="en-US" sz="1600" b="0" i="1" dirty="0">
                <a:solidFill>
                  <a:srgbClr val="282828"/>
                </a:solidFill>
                <a:effectLst/>
                <a:latin typeface="Source Sans Pro Black" panose="020B0803030403020204" pitchFamily="34" charset="0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4FA39B3-26BD-4F40-A4D9-635E970B2811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943139CF-1DF6-4203-82E2-2BD31CC94522}"/>
              </a:ext>
            </a:extLst>
          </p:cNvPr>
          <p:cNvSpPr/>
          <p:nvPr/>
        </p:nvSpPr>
        <p:spPr>
          <a:xfrm>
            <a:off x="423311" y="4271718"/>
            <a:ext cx="2605737" cy="1966487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12" name="Freeform 62">
            <a:extLst>
              <a:ext uri="{FF2B5EF4-FFF2-40B4-BE49-F238E27FC236}">
                <a16:creationId xmlns:a16="http://schemas.microsoft.com/office/drawing/2014/main" id="{51ECA6B8-893F-40DE-AEA2-A2864FC9E58E}"/>
              </a:ext>
            </a:extLst>
          </p:cNvPr>
          <p:cNvSpPr/>
          <p:nvPr/>
        </p:nvSpPr>
        <p:spPr>
          <a:xfrm rot="10800000">
            <a:off x="423309" y="3394058"/>
            <a:ext cx="2605737" cy="1168849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84642D3-2FD3-44E1-89ED-9B99A9E45555}"/>
              </a:ext>
            </a:extLst>
          </p:cNvPr>
          <p:cNvSpPr txBox="1">
            <a:spLocks/>
          </p:cNvSpPr>
          <p:nvPr/>
        </p:nvSpPr>
        <p:spPr>
          <a:xfrm>
            <a:off x="550521" y="4539621"/>
            <a:ext cx="2361189" cy="151627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1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신규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의 유치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2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기존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유지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3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멤버십 업그레이드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4" name="Rectangle 78">
            <a:extLst>
              <a:ext uri="{FF2B5EF4-FFF2-40B4-BE49-F238E27FC236}">
                <a16:creationId xmlns:a16="http://schemas.microsoft.com/office/drawing/2014/main" id="{6D3F853E-802F-4D37-9603-ECA2A7E3470E}"/>
              </a:ext>
            </a:extLst>
          </p:cNvPr>
          <p:cNvSpPr/>
          <p:nvPr/>
        </p:nvSpPr>
        <p:spPr>
          <a:xfrm>
            <a:off x="2427179" y="6016364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6579E3CA-2CF7-4020-A06F-D676B6B39387}"/>
              </a:ext>
            </a:extLst>
          </p:cNvPr>
          <p:cNvSpPr txBox="1">
            <a:spLocks/>
          </p:cNvSpPr>
          <p:nvPr/>
        </p:nvSpPr>
        <p:spPr>
          <a:xfrm>
            <a:off x="218194" y="3447464"/>
            <a:ext cx="3029847" cy="12003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>
                <a:solidFill>
                  <a:schemeClr val="bg1">
                    <a:lumMod val="95000"/>
                  </a:schemeClr>
                </a:solidFill>
              </a:rPr>
              <a:t>Olist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 Business Agenda</a:t>
            </a:r>
          </a:p>
          <a:p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98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2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</a:t>
            </a:r>
            <a:r>
              <a:rPr lang="en-US" sz="54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or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Business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Analysis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338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4</TotalTime>
  <Words>1230</Words>
  <Application>Microsoft Office PowerPoint</Application>
  <PresentationFormat>와이드스크린</PresentationFormat>
  <Paragraphs>297</Paragraphs>
  <Slides>32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2</vt:i4>
      </vt:variant>
    </vt:vector>
  </HeadingPairs>
  <TitlesOfParts>
    <vt:vector size="48" baseType="lpstr">
      <vt:lpstr>LG Smart UI Light</vt:lpstr>
      <vt:lpstr>LG Smart UI SemiBold</vt:lpstr>
      <vt:lpstr>Roboto</vt:lpstr>
      <vt:lpstr>나눔고딕 ExtraBold</vt:lpstr>
      <vt:lpstr>맑은 고딕</vt:lpstr>
      <vt:lpstr>Arial</vt:lpstr>
      <vt:lpstr>Calibri</vt:lpstr>
      <vt:lpstr>Century Gothic</vt:lpstr>
      <vt:lpstr>Source Sans Pro</vt:lpstr>
      <vt:lpstr>Source Sans Pro Black</vt:lpstr>
      <vt:lpstr>Source Sans Pro Light</vt:lpstr>
      <vt:lpstr>Source Sans Pro Semibold</vt:lpstr>
      <vt:lpstr>Source Sans Pro Semibold</vt:lpstr>
      <vt:lpstr>Wingdings</vt:lpstr>
      <vt:lpstr>Office 테마</vt:lpstr>
      <vt:lpstr>think-cell Slide</vt:lpstr>
      <vt:lpstr>브라질  이커머스 플랫폼 만족도 점수 예측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현정</dc:creator>
  <cp:lastModifiedBy>이 현정</cp:lastModifiedBy>
  <cp:revision>100</cp:revision>
  <dcterms:created xsi:type="dcterms:W3CDTF">2021-03-23T06:38:15Z</dcterms:created>
  <dcterms:modified xsi:type="dcterms:W3CDTF">2021-03-25T06:07:06Z</dcterms:modified>
</cp:coreProperties>
</file>